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8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8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8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Y VENTAJAS</a:t>
              </a:r>
              <a:endParaRPr lang="es-ES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PCIÓ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s-ES" dirty="0"/>
              <a:t>Asegure la calidad del producto quitando el polvo de las tapas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5318" y="1468872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Dispositivo de desempolvado de tapas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120302-4AEA-4E02-BDB4-7E2ADE9CC71E}"/>
              </a:ext>
            </a:extLst>
          </p:cNvPr>
          <p:cNvSpPr/>
          <p:nvPr/>
        </p:nvSpPr>
        <p:spPr>
          <a:xfrm>
            <a:off x="642938" y="2233613"/>
            <a:ext cx="3962401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b="1" dirty="0"/>
              <a:t>Calidad del producto</a:t>
            </a:r>
          </a:p>
          <a:p>
            <a:pPr>
              <a:buClr>
                <a:schemeClr val="accent4"/>
              </a:buClr>
              <a:defRPr/>
            </a:pPr>
            <a:r>
              <a:rPr lang="es-ES" altLang="fr-FR" sz="1200" dirty="0"/>
              <a:t>Incrementa la limpieza de los tapones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es-ES" altLang="fr-FR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b="1" dirty="0"/>
              <a:t>Seguridad y ergonomía</a:t>
            </a:r>
          </a:p>
          <a:p>
            <a:pPr>
              <a:buClr>
                <a:schemeClr val="accent4"/>
              </a:buClr>
              <a:defRPr/>
            </a:pPr>
            <a:r>
              <a:rPr lang="es-ES" altLang="fr-FR" sz="1200" dirty="0"/>
              <a:t>Requisito de bajo mantenimiento</a:t>
            </a:r>
          </a:p>
          <a:p>
            <a:pPr>
              <a:buClr>
                <a:schemeClr val="accent4"/>
              </a:buClr>
              <a:defRPr/>
            </a:pPr>
            <a:r>
              <a:rPr lang="es-ES" altLang="fr-FR" sz="1200" dirty="0"/>
              <a:t>Reducir los tiempos de limpieza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es-ES" altLang="fr-FR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b="1" dirty="0" err="1"/>
              <a:t>Felxibilidad</a:t>
            </a:r>
            <a:endParaRPr lang="es-ES" altLang="fr-FR" sz="1200" b="1" dirty="0"/>
          </a:p>
          <a:p>
            <a:pPr>
              <a:buClr>
                <a:schemeClr val="accent4"/>
              </a:buClr>
              <a:defRPr/>
            </a:pPr>
            <a:r>
              <a:rPr lang="es-ES" altLang="fr-FR" sz="1200" dirty="0"/>
              <a:t>Aplicable a todo tipo de tapones de plástico.</a:t>
            </a:r>
          </a:p>
          <a:p>
            <a:pPr>
              <a:buClr>
                <a:schemeClr val="accent4"/>
              </a:buClr>
              <a:defRPr/>
            </a:pPr>
            <a:r>
              <a:rPr lang="es-ES" altLang="fr-FR" sz="1200" dirty="0"/>
              <a:t>Posibilidad de detener la línea en caso de que se detenga el desempolvado de la tapa (opcional)</a:t>
            </a:r>
            <a:endParaRPr lang="en-GB" altLang="fr-FR" sz="1200" b="1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D6F1518-BBFE-45CE-A652-E51900C711DE}"/>
              </a:ext>
            </a:extLst>
          </p:cNvPr>
          <p:cNvSpPr txBox="1">
            <a:spLocks/>
          </p:cNvSpPr>
          <p:nvPr/>
        </p:nvSpPr>
        <p:spPr>
          <a:xfrm>
            <a:off x="642938" y="5874115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US" sz="800" kern="0" dirty="0">
                <a:solidFill>
                  <a:srgbClr val="000000"/>
                </a:solidFill>
              </a:rPr>
              <a:t>C</a:t>
            </a:r>
            <a:r>
              <a:rPr lang="en-GB" altLang="fr-FR" sz="800" dirty="0" err="1">
                <a:solidFill>
                  <a:srgbClr val="000000"/>
                </a:solidFill>
              </a:rPr>
              <a:t>alidad</a:t>
            </a:r>
            <a:r>
              <a:rPr lang="en-GB" altLang="fr-FR" sz="800" dirty="0">
                <a:solidFill>
                  <a:srgbClr val="000000"/>
                </a:solidFill>
              </a:rPr>
              <a:t> del </a:t>
            </a:r>
            <a:r>
              <a:rPr lang="en-GB" altLang="fr-FR" sz="800" dirty="0" err="1">
                <a:solidFill>
                  <a:srgbClr val="000000"/>
                </a:solidFill>
              </a:rPr>
              <a:t>produc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</a:t>
            </a:r>
            <a:r>
              <a:rPr lang="es-ES" sz="800" kern="0" dirty="0">
                <a:solidFill>
                  <a:srgbClr val="000000"/>
                </a:solidFill>
              </a:rPr>
              <a:t>GEBO </a:t>
            </a:r>
            <a:r>
              <a:rPr lang="es-ES" sz="800" kern="0" dirty="0" err="1">
                <a:solidFill>
                  <a:srgbClr val="000000"/>
                </a:solidFill>
              </a:rPr>
              <a:t>Aidlin</a:t>
            </a:r>
            <a:r>
              <a:rPr lang="es-ES" sz="800" kern="0" dirty="0">
                <a:solidFill>
                  <a:srgbClr val="000000"/>
                </a:solidFill>
              </a:rPr>
              <a:t> y GEBO OPTIFEED (incluido el equipo de la competencia)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</a:t>
            </a:r>
            <a:r>
              <a:rPr lang="en-US" sz="800" kern="0" dirty="0">
                <a:solidFill>
                  <a:srgbClr val="000000"/>
                </a:solidFill>
                <a:latin typeface="Arial"/>
              </a:rPr>
              <a:t>CAP001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F5BEC12B-3BBF-483B-898B-8951EA4963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1863" y="2159000"/>
            <a:ext cx="3873500" cy="218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Aire comprimido ionizado rociado a ambos lados de la tapa en una caja de tratamiento conectada a un dispositivo de vacío.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La caja de tratamiento se instala en el conducto de la tapa; La caja técnica se queda en el suelo o en la parte superior del relleno.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La filtración de aire comprimido es de 0.01 micrones, generador de aire ionizado y sistema de aspiración encerrados en una caja de acero inoxidable (caja técnica)</a:t>
            </a: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pic>
        <p:nvPicPr>
          <p:cNvPr id="16" name="Picture 14" descr="https://www.options-upgrades.sidel.com/sites/default/files/ousheet/CAP001-After.png">
            <a:extLst>
              <a:ext uri="{FF2B5EF4-FFF2-40B4-BE49-F238E27FC236}">
                <a16:creationId xmlns:a16="http://schemas.microsoft.com/office/drawing/2014/main" id="{13314436-F78D-4466-8B09-3EF31D7DBC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7362" y="4172060"/>
            <a:ext cx="1897426" cy="1605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568031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3004</TotalTime>
  <Words>176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Sidel_Template_4x3_with add layouts</vt:lpstr>
      <vt:lpstr>think-cell Folie</vt:lpstr>
      <vt:lpstr>Asegure la calidad del producto quitando el polvo de las tap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9</cp:revision>
  <dcterms:created xsi:type="dcterms:W3CDTF">2018-02-10T17:04:39Z</dcterms:created>
  <dcterms:modified xsi:type="dcterms:W3CDTF">2021-06-08T07:1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8T07:18:07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